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40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297A80-4EC3-4642-B2EB-50CD27F14848}" v="6" dt="2019-01-30T10:13:46.4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derikke Sofie Bech Høyer" userId="242ee977-0f26-4a5c-be07-2271ba5917d1" providerId="ADAL" clId="{91297A80-4EC3-4642-B2EB-50CD27F14848}"/>
    <pc:docChg chg="addSld delSld modSld">
      <pc:chgData name="Frederikke Sofie Bech Høyer" userId="242ee977-0f26-4a5c-be07-2271ba5917d1" providerId="ADAL" clId="{91297A80-4EC3-4642-B2EB-50CD27F14848}" dt="2019-01-30T10:13:46.410" v="5" actId="2696"/>
      <pc:docMkLst>
        <pc:docMk/>
      </pc:docMkLst>
      <pc:sldChg chg="addSp delSp del">
        <pc:chgData name="Frederikke Sofie Bech Høyer" userId="242ee977-0f26-4a5c-be07-2271ba5917d1" providerId="ADAL" clId="{91297A80-4EC3-4642-B2EB-50CD27F14848}" dt="2019-01-30T10:13:46.410" v="5" actId="2696"/>
        <pc:sldMkLst>
          <pc:docMk/>
          <pc:sldMk cId="3424942676" sldId="256"/>
        </pc:sldMkLst>
        <pc:spChg chg="add del">
          <ac:chgData name="Frederikke Sofie Bech Høyer" userId="242ee977-0f26-4a5c-be07-2271ba5917d1" providerId="ADAL" clId="{91297A80-4EC3-4642-B2EB-50CD27F14848}" dt="2019-01-30T10:13:21.132" v="1"/>
          <ac:spMkLst>
            <pc:docMk/>
            <pc:sldMk cId="3424942676" sldId="256"/>
            <ac:spMk id="4" creationId="{7FFD6A68-F7C2-486A-983B-FAE776F73256}"/>
          </ac:spMkLst>
        </pc:spChg>
        <pc:spChg chg="add del">
          <ac:chgData name="Frederikke Sofie Bech Høyer" userId="242ee977-0f26-4a5c-be07-2271ba5917d1" providerId="ADAL" clId="{91297A80-4EC3-4642-B2EB-50CD27F14848}" dt="2019-01-30T10:13:29.286" v="3"/>
          <ac:spMkLst>
            <pc:docMk/>
            <pc:sldMk cId="3424942676" sldId="256"/>
            <ac:spMk id="6" creationId="{66895A9B-E207-4624-B182-96EE7759B670}"/>
          </ac:spMkLst>
        </pc:spChg>
        <pc:picChg chg="add del">
          <ac:chgData name="Frederikke Sofie Bech Høyer" userId="242ee977-0f26-4a5c-be07-2271ba5917d1" providerId="ADAL" clId="{91297A80-4EC3-4642-B2EB-50CD27F14848}" dt="2019-01-30T10:13:21.132" v="1"/>
          <ac:picMkLst>
            <pc:docMk/>
            <pc:sldMk cId="3424942676" sldId="256"/>
            <ac:picMk id="5" creationId="{8932C4B4-02F6-4B0B-A11A-3327FDF73FDF}"/>
          </ac:picMkLst>
        </pc:picChg>
        <pc:picChg chg="add del">
          <ac:chgData name="Frederikke Sofie Bech Høyer" userId="242ee977-0f26-4a5c-be07-2271ba5917d1" providerId="ADAL" clId="{91297A80-4EC3-4642-B2EB-50CD27F14848}" dt="2019-01-30T10:13:29.286" v="3"/>
          <ac:picMkLst>
            <pc:docMk/>
            <pc:sldMk cId="3424942676" sldId="256"/>
            <ac:picMk id="7" creationId="{9D3B47D9-F0A7-455A-9671-2F7A7F0A1142}"/>
          </ac:picMkLst>
        </pc:picChg>
      </pc:sldChg>
      <pc:sldChg chg="add">
        <pc:chgData name="Frederikke Sofie Bech Høyer" userId="242ee977-0f26-4a5c-be07-2271ba5917d1" providerId="ADAL" clId="{91297A80-4EC3-4642-B2EB-50CD27F14848}" dt="2019-01-30T10:13:44.192" v="4"/>
        <pc:sldMkLst>
          <pc:docMk/>
          <pc:sldMk cId="1810481089" sldId="40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60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993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128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/>
              <a:t>Indhold og punktopstilling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175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976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714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968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149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749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010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32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00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E9C44-9DAE-47EA-BF7B-527501938C3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56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030" y="3443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030" y="3443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19" hidden="1">
            <a:extLst>
              <a:ext uri="{FF2B5EF4-FFF2-40B4-BE49-F238E27FC236}">
                <a16:creationId xmlns:a16="http://schemas.microsoft.com/office/drawing/2014/main" id="{23943E65-AC90-4596-BEF6-DA88CD7C53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39A4E5-C227-499F-9965-D3B5ABB57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3980" y="1224916"/>
            <a:ext cx="9464040" cy="725028"/>
          </a:xfrm>
        </p:spPr>
        <p:txBody>
          <a:bodyPr/>
          <a:lstStyle/>
          <a:p>
            <a:r>
              <a:rPr lang="da-DK"/>
              <a:t>Roller i Aula</a:t>
            </a: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78E8771C-A8F7-41F6-927F-1E3A2D52374C}"/>
              </a:ext>
            </a:extLst>
          </p:cNvPr>
          <p:cNvSpPr/>
          <p:nvPr/>
        </p:nvSpPr>
        <p:spPr>
          <a:xfrm>
            <a:off x="3212467" y="2319488"/>
            <a:ext cx="2287188" cy="1486194"/>
          </a:xfrm>
          <a:prstGeom prst="roundRect">
            <a:avLst/>
          </a:prstGeom>
          <a:noFill/>
          <a:ln w="38100">
            <a:solidFill>
              <a:srgbClr val="2495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440" b="1">
                <a:solidFill>
                  <a:schemeClr val="tx1"/>
                </a:solidFill>
              </a:rPr>
              <a:t>KOMMUNAL AULA ADMINISTRATOR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</a:rPr>
              <a:t>Aula systemejer i forvaltning</a:t>
            </a:r>
            <a:endParaRPr lang="da-DK" sz="99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</a:rPr>
              <a:t>Kommunal opsætning af Aula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</a:rPr>
              <a:t>Koordinator for Aula Support</a:t>
            </a:r>
            <a:endParaRPr lang="da-DK" sz="990">
              <a:solidFill>
                <a:schemeClr val="tx1"/>
              </a:solidFill>
              <a:cs typeface="Calibri"/>
            </a:endParaRP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A9B0772B-182C-4D17-9490-1E1642B97AB6}"/>
              </a:ext>
            </a:extLst>
          </p:cNvPr>
          <p:cNvSpPr/>
          <p:nvPr/>
        </p:nvSpPr>
        <p:spPr>
          <a:xfrm>
            <a:off x="5893319" y="2319488"/>
            <a:ext cx="2287188" cy="1486194"/>
          </a:xfrm>
          <a:prstGeom prst="roundRect">
            <a:avLst/>
          </a:prstGeom>
          <a:noFill/>
          <a:ln w="38100">
            <a:solidFill>
              <a:srgbClr val="2495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da-DK" sz="1440" b="1">
              <a:solidFill>
                <a:schemeClr val="tx1"/>
              </a:solidFill>
            </a:endParaRPr>
          </a:p>
          <a:p>
            <a:pPr>
              <a:defRPr/>
            </a:pPr>
            <a:r>
              <a:rPr lang="da-DK" sz="1440" b="1">
                <a:solidFill>
                  <a:schemeClr val="tx1"/>
                </a:solidFill>
              </a:rPr>
              <a:t>AULA </a:t>
            </a:r>
          </a:p>
          <a:p>
            <a:pPr>
              <a:defRPr/>
            </a:pPr>
            <a:r>
              <a:rPr lang="da-DK" sz="1440" b="1">
                <a:solidFill>
                  <a:schemeClr val="tx1"/>
                </a:solidFill>
              </a:rPr>
              <a:t>SUPPORTER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</a:rPr>
              <a:t>Supportere superbrugere</a:t>
            </a:r>
            <a:endParaRPr lang="da-DK" sz="99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</a:rPr>
              <a:t>Vejlede</a:t>
            </a:r>
            <a:r>
              <a:rPr lang="da-DK" sz="990">
                <a:solidFill>
                  <a:schemeClr val="tx1"/>
                </a:solidFill>
                <a:cs typeface="Calibri"/>
              </a:rPr>
              <a:t>, undervise, formidle og udarbejde materiale til brugerne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990">
                <a:solidFill>
                  <a:schemeClr val="tx1"/>
                </a:solidFill>
                <a:cs typeface="Calibri"/>
              </a:rPr>
              <a:t>Kontakt til leverandør-support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6D457FB0-F157-4E72-B51E-2DBFFB068F64}"/>
              </a:ext>
            </a:extLst>
          </p:cNvPr>
          <p:cNvSpPr/>
          <p:nvPr/>
        </p:nvSpPr>
        <p:spPr>
          <a:xfrm>
            <a:off x="1660502" y="5179491"/>
            <a:ext cx="1795530" cy="960684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LEDELSE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Implementere og forankre Aula lokalt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</a:rPr>
              <a:t>Forankring</a:t>
            </a:r>
            <a:r>
              <a:rPr lang="da-DK" sz="800">
                <a:solidFill>
                  <a:schemeClr val="tx1"/>
                </a:solidFill>
                <a:cs typeface="Calibri"/>
              </a:rPr>
              <a:t> af anvendelse og kommunikationskultur</a:t>
            </a:r>
          </a:p>
          <a:p>
            <a:pPr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2B83CA0F-7FCC-4673-BCD7-063D270CA2CE}"/>
              </a:ext>
            </a:extLst>
          </p:cNvPr>
          <p:cNvSpPr/>
          <p:nvPr/>
        </p:nvSpPr>
        <p:spPr>
          <a:xfrm>
            <a:off x="3703789" y="5179779"/>
            <a:ext cx="1795530" cy="960678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LOKAL AULA ADMINISTRATOR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Lokal opsætning af Aula 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Tovholder - SkoleIntra oprydning</a:t>
            </a: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Administrative Aula-opgaver med mulighed for at uddelegere</a:t>
            </a:r>
          </a:p>
        </p:txBody>
      </p:sp>
      <p:sp>
        <p:nvSpPr>
          <p:cNvPr id="10" name="Rektangel: afrundede hjørner 9">
            <a:extLst>
              <a:ext uri="{FF2B5EF4-FFF2-40B4-BE49-F238E27FC236}">
                <a16:creationId xmlns:a16="http://schemas.microsoft.com/office/drawing/2014/main" id="{04E7E72C-C497-4F6F-B361-B4C58CC279D2}"/>
              </a:ext>
            </a:extLst>
          </p:cNvPr>
          <p:cNvSpPr/>
          <p:nvPr/>
        </p:nvSpPr>
        <p:spPr>
          <a:xfrm>
            <a:off x="5763853" y="5188168"/>
            <a:ext cx="1795530" cy="960668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  AULA </a:t>
            </a:r>
          </a:p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SUPERBRUGER</a:t>
            </a:r>
            <a:endParaRPr lang="da-DK" sz="80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Daglig støtte til skolens brugere</a:t>
            </a:r>
          </a:p>
          <a:p>
            <a:pPr marL="154306" indent="-154306">
              <a:buFont typeface="Arial"/>
              <a:buChar char="•"/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  <a:p>
            <a:pPr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</p:txBody>
      </p:sp>
      <p:pic>
        <p:nvPicPr>
          <p:cNvPr id="11" name="Grafik 10" descr="Bruger">
            <a:extLst>
              <a:ext uri="{FF2B5EF4-FFF2-40B4-BE49-F238E27FC236}">
                <a16:creationId xmlns:a16="http://schemas.microsoft.com/office/drawing/2014/main" id="{04682F1A-2ECF-4F6E-9C2A-56F6610EA7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36732" y="1938506"/>
            <a:ext cx="687581" cy="687581"/>
          </a:xfrm>
          <a:prstGeom prst="rect">
            <a:avLst/>
          </a:prstGeom>
        </p:spPr>
      </p:pic>
      <p:pic>
        <p:nvPicPr>
          <p:cNvPr id="12" name="Grafik 11" descr="Bruger">
            <a:extLst>
              <a:ext uri="{FF2B5EF4-FFF2-40B4-BE49-F238E27FC236}">
                <a16:creationId xmlns:a16="http://schemas.microsoft.com/office/drawing/2014/main" id="{4D2AD2E9-AB53-4019-94F8-AD0223250C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07752" y="1938209"/>
            <a:ext cx="687581" cy="687581"/>
          </a:xfrm>
          <a:prstGeom prst="rect">
            <a:avLst/>
          </a:prstGeom>
        </p:spPr>
      </p:pic>
      <p:pic>
        <p:nvPicPr>
          <p:cNvPr id="13" name="Grafik 12" descr="Bruger">
            <a:extLst>
              <a:ext uri="{FF2B5EF4-FFF2-40B4-BE49-F238E27FC236}">
                <a16:creationId xmlns:a16="http://schemas.microsoft.com/office/drawing/2014/main" id="{3E42CF0A-189A-4731-8F3D-71BD7364B3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72411" y="4831890"/>
            <a:ext cx="503616" cy="503616"/>
          </a:xfrm>
          <a:prstGeom prst="rect">
            <a:avLst/>
          </a:prstGeom>
        </p:spPr>
      </p:pic>
      <p:pic>
        <p:nvPicPr>
          <p:cNvPr id="14" name="Grafik 13" descr="Bruger">
            <a:extLst>
              <a:ext uri="{FF2B5EF4-FFF2-40B4-BE49-F238E27FC236}">
                <a16:creationId xmlns:a16="http://schemas.microsoft.com/office/drawing/2014/main" id="{9F7458A9-8DF3-42A9-A958-A67BB9901C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8224" y="4840278"/>
            <a:ext cx="503320" cy="503320"/>
          </a:xfrm>
          <a:prstGeom prst="rect">
            <a:avLst/>
          </a:prstGeom>
        </p:spPr>
      </p:pic>
      <p:pic>
        <p:nvPicPr>
          <p:cNvPr id="15" name="Grafik 14" descr="Bruger">
            <a:extLst>
              <a:ext uri="{FF2B5EF4-FFF2-40B4-BE49-F238E27FC236}">
                <a16:creationId xmlns:a16="http://schemas.microsoft.com/office/drawing/2014/main" id="{B781D215-A4C3-42D2-9804-8A9C2656E7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10125" y="4848667"/>
            <a:ext cx="503320" cy="503320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BF20165B-4C34-4A42-BF77-6354B56B7C79}"/>
              </a:ext>
            </a:extLst>
          </p:cNvPr>
          <p:cNvCxnSpPr>
            <a:cxnSpLocks/>
          </p:cNvCxnSpPr>
          <p:nvPr/>
        </p:nvCxnSpPr>
        <p:spPr>
          <a:xfrm>
            <a:off x="1758917" y="4382526"/>
            <a:ext cx="9433752" cy="0"/>
          </a:xfrm>
          <a:prstGeom prst="line">
            <a:avLst/>
          </a:prstGeom>
          <a:ln w="38100">
            <a:solidFill>
              <a:srgbClr val="E84E0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felt 16">
            <a:extLst>
              <a:ext uri="{FF2B5EF4-FFF2-40B4-BE49-F238E27FC236}">
                <a16:creationId xmlns:a16="http://schemas.microsoft.com/office/drawing/2014/main" id="{FDB77084-D8A0-4EF6-91C7-4B8AFFDD0115}"/>
              </a:ext>
            </a:extLst>
          </p:cNvPr>
          <p:cNvSpPr txBox="1"/>
          <p:nvPr/>
        </p:nvSpPr>
        <p:spPr>
          <a:xfrm>
            <a:off x="437642" y="2923702"/>
            <a:ext cx="1508760" cy="508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b="1"/>
              <a:t>FÆLLES</a:t>
            </a:r>
            <a:r>
              <a:rPr lang="da-DK" sz="1264"/>
              <a:t> </a:t>
            </a:r>
            <a:br>
              <a:rPr lang="da-DK" sz="1264"/>
            </a:br>
            <a:endParaRPr lang="da-DK" sz="1264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8F470691-0EB9-4476-98E6-BFD1B0F2C681}"/>
              </a:ext>
            </a:extLst>
          </p:cNvPr>
          <p:cNvSpPr txBox="1"/>
          <p:nvPr/>
        </p:nvSpPr>
        <p:spPr>
          <a:xfrm>
            <a:off x="442215" y="5097750"/>
            <a:ext cx="1378726" cy="508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b="1"/>
              <a:t>LOKALT</a:t>
            </a:r>
            <a:r>
              <a:rPr lang="da-DK" sz="1264"/>
              <a:t> </a:t>
            </a:r>
            <a:br>
              <a:rPr lang="da-DK" sz="1264"/>
            </a:br>
            <a:endParaRPr lang="da-DK" sz="1264"/>
          </a:p>
        </p:txBody>
      </p:sp>
      <p:sp>
        <p:nvSpPr>
          <p:cNvPr id="21" name="Rektangel: afrundede hjørner 20">
            <a:extLst>
              <a:ext uri="{FF2B5EF4-FFF2-40B4-BE49-F238E27FC236}">
                <a16:creationId xmlns:a16="http://schemas.microsoft.com/office/drawing/2014/main" id="{1EA603EF-5124-427B-BB2C-6BD8E4D59FF1}"/>
              </a:ext>
            </a:extLst>
          </p:cNvPr>
          <p:cNvSpPr/>
          <p:nvPr/>
        </p:nvSpPr>
        <p:spPr>
          <a:xfrm>
            <a:off x="7773584" y="5179491"/>
            <a:ext cx="1795530" cy="960668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AULA MEDARBEJDERE</a:t>
            </a:r>
            <a:endParaRPr lang="da-DK" sz="80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Daglige brugere</a:t>
            </a:r>
          </a:p>
          <a:p>
            <a:pPr marL="154306" indent="-154306">
              <a:buFont typeface="Arial"/>
              <a:buChar char="•"/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  <a:p>
            <a:pPr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</p:txBody>
      </p:sp>
      <p:pic>
        <p:nvPicPr>
          <p:cNvPr id="22" name="Grafik 21" descr="Bruger">
            <a:extLst>
              <a:ext uri="{FF2B5EF4-FFF2-40B4-BE49-F238E27FC236}">
                <a16:creationId xmlns:a16="http://schemas.microsoft.com/office/drawing/2014/main" id="{B831D42E-0F33-472D-A60A-C85AA226AF4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19856" y="4839990"/>
            <a:ext cx="503320" cy="503320"/>
          </a:xfrm>
          <a:prstGeom prst="rect">
            <a:avLst/>
          </a:prstGeom>
        </p:spPr>
      </p:pic>
      <p:sp>
        <p:nvSpPr>
          <p:cNvPr id="23" name="Rektangel: afrundede hjørner 22">
            <a:extLst>
              <a:ext uri="{FF2B5EF4-FFF2-40B4-BE49-F238E27FC236}">
                <a16:creationId xmlns:a16="http://schemas.microsoft.com/office/drawing/2014/main" id="{D7187AC9-F8D0-496A-9D14-57845D51FD4E}"/>
              </a:ext>
            </a:extLst>
          </p:cNvPr>
          <p:cNvSpPr/>
          <p:nvPr/>
        </p:nvSpPr>
        <p:spPr>
          <a:xfrm>
            <a:off x="9796731" y="5164111"/>
            <a:ext cx="1795530" cy="960668"/>
          </a:xfrm>
          <a:prstGeom prst="roundRect">
            <a:avLst/>
          </a:prstGeom>
          <a:noFill/>
          <a:ln w="38100">
            <a:solidFill>
              <a:srgbClr val="166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da-DK" sz="1200" b="1">
                <a:solidFill>
                  <a:schemeClr val="tx1"/>
                </a:solidFill>
                <a:cs typeface="Calibri"/>
              </a:rPr>
              <a:t>AULA FORÆLDRE OG ELEVER</a:t>
            </a:r>
            <a:endParaRPr lang="da-DK" sz="800">
              <a:solidFill>
                <a:schemeClr val="tx1"/>
              </a:solidFill>
              <a:cs typeface="Calibri"/>
            </a:endParaRPr>
          </a:p>
          <a:p>
            <a:pPr marL="154306" indent="-154306">
              <a:buFont typeface="Arial"/>
              <a:buChar char="•"/>
              <a:defRPr/>
            </a:pPr>
            <a:r>
              <a:rPr lang="da-DK" sz="800">
                <a:solidFill>
                  <a:schemeClr val="tx1"/>
                </a:solidFill>
                <a:cs typeface="Calibri"/>
              </a:rPr>
              <a:t>Daglige brugere</a:t>
            </a:r>
          </a:p>
          <a:p>
            <a:pPr marL="154306" indent="-154306">
              <a:buFont typeface="Arial"/>
              <a:buChar char="•"/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  <a:p>
            <a:pPr>
              <a:defRPr/>
            </a:pPr>
            <a:endParaRPr lang="da-DK" sz="800">
              <a:solidFill>
                <a:schemeClr val="tx1"/>
              </a:solidFill>
              <a:cs typeface="Calibri"/>
            </a:endParaRPr>
          </a:p>
        </p:txBody>
      </p:sp>
      <p:pic>
        <p:nvPicPr>
          <p:cNvPr id="24" name="Grafik 23" descr="Bruger">
            <a:extLst>
              <a:ext uri="{FF2B5EF4-FFF2-40B4-BE49-F238E27FC236}">
                <a16:creationId xmlns:a16="http://schemas.microsoft.com/office/drawing/2014/main" id="{5F9053DB-88DA-4C1C-99E3-0BBC9CBCFC4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43003" y="4824610"/>
            <a:ext cx="503320" cy="503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4810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F4R_5BTEGWf5O4gJW0tw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D6B805-64E4-41DC-8E8F-D4D19440A140}">
  <ds:schemaRefs>
    <ds:schemaRef ds:uri="16ca11c2-652e-4984-bdfe-49786aa2f500"/>
    <ds:schemaRef ds:uri="f26a3494-fb29-4aa4-bfb0-35341ca39cf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5D32972-1871-4669-B3EC-BA05B4DA17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63E4B9-E61F-4BD3-A201-9C64C14258D6}">
  <ds:schemaRefs>
    <ds:schemaRef ds:uri="16ca11c2-652e-4984-bdfe-49786aa2f500"/>
    <ds:schemaRef ds:uri="f26a3494-fb29-4aa4-bfb0-35341ca39cf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</Slides>
  <Notes>0</Notes>
  <HiddenSlides>1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Kontortema</vt:lpstr>
      <vt:lpstr>Roller i Aul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ller i Aula</dc:title>
  <dc:creator/>
  <cp:revision>1</cp:revision>
  <dcterms:created xsi:type="dcterms:W3CDTF">2012-08-10T12:37:40Z</dcterms:created>
  <dcterms:modified xsi:type="dcterms:W3CDTF">2019-01-30T10:3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Ids_UIVersion_512">
    <vt:lpwstr>86</vt:lpwstr>
  </property>
  <property fmtid="{D5CDD505-2E9C-101B-9397-08002B2CF9AE}" pid="3" name="ContentTypeId">
    <vt:lpwstr>0x010100059A9C3DBC90E941A1B2808491BAB128</vt:lpwstr>
  </property>
</Properties>
</file>